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16x9">
  <a:themeElements>
    <a:clrScheme name="Custom 7">
      <a:dk1>
        <a:srgbClr val="000000"/>
      </a:dk1>
      <a:lt1>
        <a:srgbClr val="FFFFFF"/>
      </a:lt1>
      <a:dk2>
        <a:srgbClr val="463668"/>
      </a:dk2>
      <a:lt2>
        <a:srgbClr val="E8E6DF"/>
      </a:lt2>
      <a:accent1>
        <a:srgbClr val="463668"/>
      </a:accent1>
      <a:accent2>
        <a:srgbClr val="C5B4E3"/>
      </a:accent2>
      <a:accent3>
        <a:srgbClr val="C03BC4"/>
      </a:accent3>
      <a:accent4>
        <a:srgbClr val="8C8279"/>
      </a:accent4>
      <a:accent5>
        <a:srgbClr val="D59ED7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brand template starter - 16x9 v04.potx" id="{4908BB59-E0F9-4262-9337-B2D75939F852}" vid="{C1F6406B-B671-42E9-A581-A06DD50715F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48</Words>
  <Application>Microsoft Office PowerPoint</Application>
  <PresentationFormat>Widescreen</PresentationFormat>
  <Paragraphs>4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Respond to a customer complaint (Copilot for Service)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0:5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